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ppt/tags/tag20.xml" ContentType="application/vnd.openxmlformats-officedocument.presentationml.tags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22.xml" ContentType="application/vnd.openxmlformats-officedocument.presentationml.tags+xml"/>
  <Override PartName="/ppt/notesSlides/notesSlide25.xml" ContentType="application/vnd.openxmlformats-officedocument.presentationml.notesSlide+xml"/>
  <Override PartName="/ppt/tags/tag23.xml" ContentType="application/vnd.openxmlformats-officedocument.presentationml.tags+xml"/>
  <Override PartName="/ppt/notesSlides/notesSlide26.xml" ContentType="application/vnd.openxmlformats-officedocument.presentationml.notesSlide+xml"/>
  <Override PartName="/ppt/tags/tag24.xml" ContentType="application/vnd.openxmlformats-officedocument.presentationml.tags+xml"/>
  <Override PartName="/ppt/notesSlides/notesSlide27.xml" ContentType="application/vnd.openxmlformats-officedocument.presentationml.notesSlide+xml"/>
  <Override PartName="/ppt/tags/tag25.xml" ContentType="application/vnd.openxmlformats-officedocument.presentationml.tags+xml"/>
  <Override PartName="/ppt/notesSlides/notesSlide28.xml" ContentType="application/vnd.openxmlformats-officedocument.presentationml.notesSlide+xml"/>
  <Override PartName="/ppt/tags/tag26.xml" ContentType="application/vnd.openxmlformats-officedocument.presentationml.tags+xml"/>
  <Override PartName="/ppt/notesSlides/notesSlide29.xml" ContentType="application/vnd.openxmlformats-officedocument.presentationml.notesSlide+xml"/>
  <Override PartName="/ppt/tags/tag27.xml" ContentType="application/vnd.openxmlformats-officedocument.presentationml.tags+xml"/>
  <Override PartName="/ppt/notesSlides/notesSlide30.xml" ContentType="application/vnd.openxmlformats-officedocument.presentationml.notesSlide+xml"/>
  <Override PartName="/ppt/tags/tag28.xml" ContentType="application/vnd.openxmlformats-officedocument.presentationml.tags+xml"/>
  <Override PartName="/ppt/notesSlides/notesSlide31.xml" ContentType="application/vnd.openxmlformats-officedocument.presentationml.notesSlide+xml"/>
  <Override PartName="/ppt/tags/tag29.xml" ContentType="application/vnd.openxmlformats-officedocument.presentationml.tags+xml"/>
  <Override PartName="/ppt/notesSlides/notesSlide32.xml" ContentType="application/vnd.openxmlformats-officedocument.presentationml.notesSlide+xml"/>
  <Override PartName="/ppt/tags/tag30.xml" ContentType="application/vnd.openxmlformats-officedocument.presentationml.tags+xml"/>
  <Override PartName="/ppt/notesSlides/notesSlide33.xml" ContentType="application/vnd.openxmlformats-officedocument.presentationml.notesSlide+xml"/>
  <Override PartName="/ppt/tags/tag31.xml" ContentType="application/vnd.openxmlformats-officedocument.presentationml.tags+xml"/>
  <Override PartName="/ppt/notesSlides/notesSlide34.xml" ContentType="application/vnd.openxmlformats-officedocument.presentationml.notesSlide+xml"/>
  <Override PartName="/ppt/tags/tag32.xml" ContentType="application/vnd.openxmlformats-officedocument.presentationml.tags+xml"/>
  <Override PartName="/ppt/notesSlides/notesSlide3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40"/>
  </p:notesMasterIdLst>
  <p:sldIdLst>
    <p:sldId id="327" r:id="rId5"/>
    <p:sldId id="1026" r:id="rId6"/>
    <p:sldId id="1025" r:id="rId7"/>
    <p:sldId id="1047" r:id="rId8"/>
    <p:sldId id="1048" r:id="rId9"/>
    <p:sldId id="1049" r:id="rId10"/>
    <p:sldId id="1050" r:id="rId11"/>
    <p:sldId id="602" r:id="rId12"/>
    <p:sldId id="562" r:id="rId13"/>
    <p:sldId id="547" r:id="rId14"/>
    <p:sldId id="548" r:id="rId15"/>
    <p:sldId id="549" r:id="rId16"/>
    <p:sldId id="1027" r:id="rId17"/>
    <p:sldId id="1028" r:id="rId18"/>
    <p:sldId id="1029" r:id="rId19"/>
    <p:sldId id="1030" r:id="rId20"/>
    <p:sldId id="1031" r:id="rId21"/>
    <p:sldId id="1032" r:id="rId22"/>
    <p:sldId id="1033" r:id="rId23"/>
    <p:sldId id="1034" r:id="rId24"/>
    <p:sldId id="1035" r:id="rId25"/>
    <p:sldId id="1051" r:id="rId26"/>
    <p:sldId id="1052" r:id="rId27"/>
    <p:sldId id="1036" r:id="rId28"/>
    <p:sldId id="1046" r:id="rId29"/>
    <p:sldId id="1037" r:id="rId30"/>
    <p:sldId id="1038" r:id="rId31"/>
    <p:sldId id="1039" r:id="rId32"/>
    <p:sldId id="1040" r:id="rId33"/>
    <p:sldId id="1041" r:id="rId34"/>
    <p:sldId id="1053" r:id="rId35"/>
    <p:sldId id="1054" r:id="rId36"/>
    <p:sldId id="1055" r:id="rId37"/>
    <p:sldId id="1057" r:id="rId38"/>
    <p:sldId id="1106" r:id="rId39"/>
  </p:sldIdLst>
  <p:sldSz cx="9144000" cy="6858000" type="screen4x3"/>
  <p:notesSz cx="6635750" cy="9767888"/>
  <p:custDataLst>
    <p:tags r:id="rId41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77" userDrawn="1">
          <p15:clr>
            <a:srgbClr val="A4A3A4"/>
          </p15:clr>
        </p15:guide>
        <p15:guide id="2" pos="20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3300"/>
    <a:srgbClr val="ED7D31"/>
    <a:srgbClr val="0B57CF"/>
    <a:srgbClr val="1A1A1D"/>
    <a:srgbClr val="323332"/>
    <a:srgbClr val="2FD159"/>
    <a:srgbClr val="1A1A25"/>
    <a:srgbClr val="4472C4"/>
    <a:srgbClr val="0096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332A3F-3A76-4719-854C-0CD28608DBAB}" v="1" dt="2025-03-13T01:11:30.2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16" autoAdjust="0"/>
    <p:restoredTop sz="72565" autoAdjust="0"/>
  </p:normalViewPr>
  <p:slideViewPr>
    <p:cSldViewPr snapToGrid="0" snapToObjects="1">
      <p:cViewPr varScale="1">
        <p:scale>
          <a:sx n="78" d="100"/>
          <a:sy n="78" d="100"/>
        </p:scale>
        <p:origin x="230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4" d="100"/>
          <a:sy n="44" d="100"/>
        </p:scale>
        <p:origin x="2804" y="52"/>
      </p:cViewPr>
      <p:guideLst>
        <p:guide orient="horz" pos="3077"/>
        <p:guide pos="209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875492" cy="490090"/>
          </a:xfrm>
          <a:prstGeom prst="rect">
            <a:avLst/>
          </a:prstGeom>
        </p:spPr>
        <p:txBody>
          <a:bodyPr vert="horz" lIns="89221" tIns="44610" rIns="89221" bIns="44610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758725" y="2"/>
            <a:ext cx="2875492" cy="490090"/>
          </a:xfrm>
          <a:prstGeom prst="rect">
            <a:avLst/>
          </a:prstGeom>
        </p:spPr>
        <p:txBody>
          <a:bodyPr vert="horz" lIns="89221" tIns="44610" rIns="89221" bIns="44610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576263"/>
            <a:ext cx="5254625" cy="39417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221" tIns="44610" rIns="89221" bIns="44610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78583" y="4566710"/>
            <a:ext cx="5878583" cy="4711090"/>
          </a:xfrm>
          <a:prstGeom prst="rect">
            <a:avLst/>
          </a:prstGeom>
        </p:spPr>
        <p:txBody>
          <a:bodyPr vert="horz" lIns="89221" tIns="44610" rIns="89221" bIns="44610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277801"/>
            <a:ext cx="2875492" cy="490089"/>
          </a:xfrm>
          <a:prstGeom prst="rect">
            <a:avLst/>
          </a:prstGeom>
        </p:spPr>
        <p:txBody>
          <a:bodyPr vert="horz" lIns="89221" tIns="44610" rIns="89221" bIns="44610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758725" y="9277801"/>
            <a:ext cx="2875492" cy="490089"/>
          </a:xfrm>
          <a:prstGeom prst="rect">
            <a:avLst/>
          </a:prstGeom>
        </p:spPr>
        <p:txBody>
          <a:bodyPr vert="horz" lIns="89221" tIns="44610" rIns="89221" bIns="44610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84CDD487-3BD0-7020-ED4A-195C0ECE6A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8DFCB6C-E578-720F-F9CF-1211F9E914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26C4575-1433-0A87-EFAB-581574B21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17A7D01-BFB9-149D-A168-D0B0A65FB8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151C01E-C1D3-26E9-072D-086662A5C4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305419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6804305-3E52-6C37-4218-6C306D23F9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560488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464744E-E249-0DD0-CC01-E12D746B6B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254271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B63A8E3-C105-BE3E-49D8-8755AB6F1E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01943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0A0200F-8599-09F2-BB8A-590B6F16DA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8937430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C343C4D-895B-965F-DB32-6874F109E4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092152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6AFCFC-E2D1-D087-6628-6A41E9D6DE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040152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490D36D-0551-6504-188D-AFC903B5CF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087285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1D3178A-721C-5667-5F86-FC4D4E2FEA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671342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1E89E6D-3232-7C1B-3AEA-6B9C4B65B6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0459782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3A8B808-6653-4F90-B30B-BF4ABC5DF8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425759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E0498B9-6482-A65F-3E83-DCAA473BAB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038403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3DEA2AB-3598-A37E-D7F6-DD51EF09670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451702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5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8E447A5-D277-0A40-1E32-5E79832A4C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2939573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05A7F99-8E13-0D17-244D-B8AF33786B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790836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83F717F-ABE2-FAC2-C049-46E070C8E7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175100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0543097-6CB1-F830-8C03-1CE9BB2E65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9828088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E36E712-C336-575A-6B12-4629C15EEC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93734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7789D4-3362-F8BF-746B-785903316F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05465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D94D39-2512-53C0-558E-A0E4097751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5821612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35A77FB-66B5-6432-4345-B5DDC0C739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209612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34C41FC-FC41-748C-38FC-992E52440D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222241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7207523-0602-E4DA-046C-CDBEC08B35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2675159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4</a:t>
            </a:fld>
            <a:endParaRPr lang="ja-JP" altLang="en-US" dirty="0"/>
          </a:p>
        </p:txBody>
      </p:sp>
      <p:sp>
        <p:nvSpPr>
          <p:cNvPr id="6" name="スライド イメージ プレースホルダー 5">
            <a:extLst>
              <a:ext uri="{FF2B5EF4-FFF2-40B4-BE49-F238E27FC236}">
                <a16:creationId xmlns:a16="http://schemas.microsoft.com/office/drawing/2014/main" id="{A3F99FBD-68E6-C37C-9EB8-B94519E086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05321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5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809740AE-66B6-B2B7-F1B8-5ECD13B1DF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29EA7A4E-FBE8-22F9-A633-4EE4A578F7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E1BE8B1-FBB9-FF58-B887-C7933959ED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9459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5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C402309-3C8B-61EF-9556-E3768D0A98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55569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1461EF4-7AAD-BB4D-8F88-3F1122CF79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948707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EF9B797-B1CE-333C-5E6B-595F68CD67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FBAABBF-A7F5-AA21-F1E9-02FAA82557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67053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B34EF21-363C-7132-CFB8-58EA5E6112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7.jp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2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30.jpg"/><Relationship Id="rId4" Type="http://schemas.openxmlformats.org/officeDocument/2006/relationships/image" Target="../media/image29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32.jp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35.jpg"/><Relationship Id="rId4" Type="http://schemas.openxmlformats.org/officeDocument/2006/relationships/image" Target="../media/image34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37.jpg"/><Relationship Id="rId4" Type="http://schemas.openxmlformats.org/officeDocument/2006/relationships/image" Target="../media/image36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43.jpg"/><Relationship Id="rId4" Type="http://schemas.openxmlformats.org/officeDocument/2006/relationships/image" Target="../media/image42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45.jpg"/><Relationship Id="rId4" Type="http://schemas.openxmlformats.org/officeDocument/2006/relationships/image" Target="../media/image44.jp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47.jpg"/><Relationship Id="rId4" Type="http://schemas.openxmlformats.org/officeDocument/2006/relationships/image" Target="../media/image46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50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36.jpg"/><Relationship Id="rId4" Type="http://schemas.openxmlformats.org/officeDocument/2006/relationships/image" Target="../media/image51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5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1.bin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jp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D81D4D6-5110-4FDB-A422-D38F27C69A93}"/>
              </a:ext>
            </a:extLst>
          </p:cNvPr>
          <p:cNvSpPr txBox="1"/>
          <p:nvPr/>
        </p:nvSpPr>
        <p:spPr>
          <a:xfrm>
            <a:off x="7544393" y="6384107"/>
            <a:ext cx="10425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938"/>
            <a:r>
              <a:rPr kumimoji="1" lang="ja-JP" altLang="en-US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kumimoji="1" lang="en-US" altLang="ja-JP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kumimoji="1" lang="ja-JP" altLang="en-US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4</a:t>
            </a:r>
            <a:r>
              <a:rPr kumimoji="1" lang="ja-JP" altLang="en-US" sz="1200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3333F582-E97D-3090-FD33-D56CFC51F086}"/>
              </a:ext>
            </a:extLst>
          </p:cNvPr>
          <p:cNvSpPr txBox="1">
            <a:spLocks/>
          </p:cNvSpPr>
          <p:nvPr/>
        </p:nvSpPr>
        <p:spPr>
          <a:xfrm>
            <a:off x="977462" y="2305116"/>
            <a:ext cx="7161554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使って楽しく歩こう</a:t>
            </a:r>
          </a:p>
        </p:txBody>
      </p:sp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A08292AD-6880-9E6C-74B1-049AD452F2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746" y="2253634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53634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27855" y="4709702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押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47283" y="6228213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16E869D-F794-9BAF-9CB8-E906C5B40C0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B858BF6-75A1-6C44-5B25-60F7B09B27EC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E266967F-F18C-F80B-B757-8C4992201C1D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F948A663-2E37-88A9-A0B2-59622EB8C0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6" name="タイトル 1">
            <a:extLst>
              <a:ext uri="{FF2B5EF4-FFF2-40B4-BE49-F238E27FC236}">
                <a16:creationId xmlns:a16="http://schemas.microsoft.com/office/drawing/2014/main" id="{F4C1C033-BF80-E351-A9C3-C160C70CDDD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291342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図 19" descr="グラフィカル ユーザー インターフェイス, アプリケーション, テーブル, Teams&#10;&#10;自動的に生成された説明">
            <a:extLst>
              <a:ext uri="{FF2B5EF4-FFF2-40B4-BE49-F238E27FC236}">
                <a16:creationId xmlns:a16="http://schemas.microsoft.com/office/drawing/2014/main" id="{18D9C60F-9100-8A2E-AF37-FF22CD64C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430" y="2265873"/>
            <a:ext cx="2449026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9002F99E-C8DE-4067-ADAB-F295072733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2950" y="2265873"/>
            <a:ext cx="2475191" cy="4377307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</a:t>
            </a: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fun+walk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601175-3FF8-9CAB-AB4A-C982980FE02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0D74FF1-696E-004A-FD37-22803CB809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て検索します</a:t>
            </a:r>
          </a:p>
        </p:txBody>
      </p:sp>
      <p:sp>
        <p:nvSpPr>
          <p:cNvPr id="11" name="サブタイトル 2">
            <a:extLst>
              <a:ext uri="{FF2B5EF4-FFF2-40B4-BE49-F238E27FC236}">
                <a16:creationId xmlns:a16="http://schemas.microsoft.com/office/drawing/2014/main" id="{0A7367FB-475D-0EC3-1C3C-53084C5351B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D0A74B1B-1F81-8C52-6644-F2A18798F8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5" name="タイトル 1">
            <a:extLst>
              <a:ext uri="{FF2B5EF4-FFF2-40B4-BE49-F238E27FC236}">
                <a16:creationId xmlns:a16="http://schemas.microsoft.com/office/drawing/2014/main" id="{3FB1E59D-4A3A-603A-206E-32FFA3779CA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36806703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>
            <a:extLst>
              <a:ext uri="{FF2B5EF4-FFF2-40B4-BE49-F238E27FC236}">
                <a16:creationId xmlns:a16="http://schemas.microsoft.com/office/drawing/2014/main" id="{5CF4D4A5-1CE3-6485-72CE-9934F16321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234" y="2233245"/>
            <a:ext cx="2475191" cy="4383404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712BA863-9CEF-868B-727D-307C4746E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5492" y="2233245"/>
            <a:ext cx="2475191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12195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895D6FF-0FF3-C219-9497-49135599D9C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889A0F8-F4DD-9801-5E1D-0187CB7AC835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71458" y="2908834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A5D02F5A-F1F3-6E29-6F1F-94AB18E0FEF8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93EE8F19-F453-32A1-1226-A765143562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72D9EA7A-047B-C70C-9820-DB656E06CFA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22529276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88DE9F2F-1CCE-D318-BA8E-B32B19F7D3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3178" y="2406591"/>
            <a:ext cx="1993846" cy="43199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B8D4676-4777-6E32-C5CF-9340424C1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2944" y="2416077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5956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FUN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WAL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アプリ　　　 を押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続ける」を押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D7D58969-52A4-4A4F-C6A0-42C832E1725D}"/>
              </a:ext>
            </a:extLst>
          </p:cNvPr>
          <p:cNvSpPr/>
          <p:nvPr/>
        </p:nvSpPr>
        <p:spPr>
          <a:xfrm>
            <a:off x="6208101" y="4928276"/>
            <a:ext cx="860916" cy="393128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9D6B54B1-11ED-6BD3-4F9F-C950FCDC5100}"/>
              </a:ext>
            </a:extLst>
          </p:cNvPr>
          <p:cNvSpPr/>
          <p:nvPr/>
        </p:nvSpPr>
        <p:spPr>
          <a:xfrm>
            <a:off x="2972652" y="4832379"/>
            <a:ext cx="324000" cy="324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2" name="図 3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91685D3-6D3C-296C-01DD-E00245B548B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8757" t="57137" r="8838" b="37137"/>
          <a:stretch/>
        </p:blipFill>
        <p:spPr>
          <a:xfrm>
            <a:off x="3656861" y="1529614"/>
            <a:ext cx="395621" cy="395621"/>
          </a:xfrm>
          <a:custGeom>
            <a:avLst/>
            <a:gdLst>
              <a:gd name="connsiteX0" fmla="*/ 84002 w 504000"/>
              <a:gd name="connsiteY0" fmla="*/ 0 h 504000"/>
              <a:gd name="connsiteX1" fmla="*/ 419998 w 504000"/>
              <a:gd name="connsiteY1" fmla="*/ 0 h 504000"/>
              <a:gd name="connsiteX2" fmla="*/ 504000 w 504000"/>
              <a:gd name="connsiteY2" fmla="*/ 84002 h 504000"/>
              <a:gd name="connsiteX3" fmla="*/ 504000 w 504000"/>
              <a:gd name="connsiteY3" fmla="*/ 419998 h 504000"/>
              <a:gd name="connsiteX4" fmla="*/ 419998 w 504000"/>
              <a:gd name="connsiteY4" fmla="*/ 504000 h 504000"/>
              <a:gd name="connsiteX5" fmla="*/ 84002 w 504000"/>
              <a:gd name="connsiteY5" fmla="*/ 504000 h 504000"/>
              <a:gd name="connsiteX6" fmla="*/ 0 w 504000"/>
              <a:gd name="connsiteY6" fmla="*/ 419998 h 504000"/>
              <a:gd name="connsiteX7" fmla="*/ 0 w 504000"/>
              <a:gd name="connsiteY7" fmla="*/ 84002 h 504000"/>
              <a:gd name="connsiteX8" fmla="*/ 84002 w 504000"/>
              <a:gd name="connsiteY8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000" h="504000">
                <a:moveTo>
                  <a:pt x="84002" y="0"/>
                </a:moveTo>
                <a:lnTo>
                  <a:pt x="419998" y="0"/>
                </a:lnTo>
                <a:cubicBezTo>
                  <a:pt x="466391" y="0"/>
                  <a:pt x="504000" y="37609"/>
                  <a:pt x="504000" y="84002"/>
                </a:cubicBezTo>
                <a:lnTo>
                  <a:pt x="504000" y="419998"/>
                </a:lnTo>
                <a:cubicBezTo>
                  <a:pt x="504000" y="466391"/>
                  <a:pt x="466391" y="504000"/>
                  <a:pt x="419998" y="504000"/>
                </a:cubicBezTo>
                <a:lnTo>
                  <a:pt x="84002" y="504000"/>
                </a:lnTo>
                <a:cubicBezTo>
                  <a:pt x="37609" y="504000"/>
                  <a:pt x="0" y="466391"/>
                  <a:pt x="0" y="419998"/>
                </a:cubicBezTo>
                <a:lnTo>
                  <a:pt x="0" y="84002"/>
                </a:lnTo>
                <a:cubicBezTo>
                  <a:pt x="0" y="37609"/>
                  <a:pt x="37609" y="0"/>
                  <a:pt x="84002" y="0"/>
                </a:cubicBezTo>
                <a:close/>
              </a:path>
            </a:pathLst>
          </a:custGeom>
          <a:ln>
            <a:noFill/>
          </a:ln>
        </p:spPr>
      </p:pic>
      <p:sp>
        <p:nvSpPr>
          <p:cNvPr id="33" name="サブタイトル 2">
            <a:extLst>
              <a:ext uri="{FF2B5EF4-FFF2-40B4-BE49-F238E27FC236}">
                <a16:creationId xmlns:a16="http://schemas.microsoft.com/office/drawing/2014/main" id="{AA5CAC1E-0324-80A8-0F6E-36A7719A3DC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3525078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B9057E52-4AD8-A028-B0A0-DC6A4EFDD8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4084" y="2387157"/>
            <a:ext cx="2017951" cy="4346825"/>
          </a:xfrm>
          <a:prstGeom prst="rect">
            <a:avLst/>
          </a:prstGeom>
        </p:spPr>
      </p:pic>
      <p:pic>
        <p:nvPicPr>
          <p:cNvPr id="16" name="図 15" descr="テキスト, 手紙&#10;&#10;自動的に生成された説明">
            <a:extLst>
              <a:ext uri="{FF2B5EF4-FFF2-40B4-BE49-F238E27FC236}">
                <a16:creationId xmlns:a16="http://schemas.microsoft.com/office/drawing/2014/main" id="{DF2C416D-7E51-D862-6124-7E59B8B6B3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221" y="2399189"/>
            <a:ext cx="1993846" cy="431999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5956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利用規約を読み「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契約に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同意して次へ進む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3838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を記入、選択し「次へ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D7D58969-52A4-4A4F-C6A0-42C832E1725D}"/>
              </a:ext>
            </a:extLst>
          </p:cNvPr>
          <p:cNvSpPr/>
          <p:nvPr/>
        </p:nvSpPr>
        <p:spPr>
          <a:xfrm>
            <a:off x="1610760" y="5970920"/>
            <a:ext cx="1670724" cy="47857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2C8AD03-410F-077E-4E52-EB837E15C927}"/>
              </a:ext>
            </a:extLst>
          </p:cNvPr>
          <p:cNvSpPr/>
          <p:nvPr/>
        </p:nvSpPr>
        <p:spPr>
          <a:xfrm>
            <a:off x="5779201" y="3429000"/>
            <a:ext cx="1701800" cy="1790700"/>
          </a:xfrm>
          <a:prstGeom prst="roundRect">
            <a:avLst>
              <a:gd name="adj" fmla="val 102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38E299F9-412F-2D6F-827C-264BF0114C3A}"/>
              </a:ext>
            </a:extLst>
          </p:cNvPr>
          <p:cNvSpPr/>
          <p:nvPr/>
        </p:nvSpPr>
        <p:spPr>
          <a:xfrm>
            <a:off x="6668294" y="6060010"/>
            <a:ext cx="788593" cy="339813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サブタイトル 2">
            <a:extLst>
              <a:ext uri="{FF2B5EF4-FFF2-40B4-BE49-F238E27FC236}">
                <a16:creationId xmlns:a16="http://schemas.microsoft.com/office/drawing/2014/main" id="{D0FD2B37-B908-D14B-597B-6478E12F7446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385060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81D8DEF2-F2F1-5DC3-9E9E-7D056BC17E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5931" y="2385558"/>
            <a:ext cx="2017951" cy="4340728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558E0221-5FA8-39A2-616B-7A63B864AD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2112" y="2394566"/>
            <a:ext cx="2017951" cy="4340728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199384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赤枠内を入力し「次へ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192195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キャラクター</a:t>
            </a:r>
            <a:b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覧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D7D58969-52A4-4A4F-C6A0-42C832E1725D}"/>
              </a:ext>
            </a:extLst>
          </p:cNvPr>
          <p:cNvSpPr/>
          <p:nvPr/>
        </p:nvSpPr>
        <p:spPr>
          <a:xfrm>
            <a:off x="1591312" y="3372591"/>
            <a:ext cx="1667742" cy="1732809"/>
          </a:xfrm>
          <a:prstGeom prst="roundRect">
            <a:avLst>
              <a:gd name="adj" fmla="val 650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2C8AD03-410F-077E-4E52-EB837E15C927}"/>
              </a:ext>
            </a:extLst>
          </p:cNvPr>
          <p:cNvSpPr/>
          <p:nvPr/>
        </p:nvSpPr>
        <p:spPr>
          <a:xfrm>
            <a:off x="5991334" y="5194321"/>
            <a:ext cx="1308100" cy="3398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A23F436C-50BD-9739-E2FA-AB33AF6086C7}"/>
              </a:ext>
            </a:extLst>
          </p:cNvPr>
          <p:cNvSpPr/>
          <p:nvPr/>
        </p:nvSpPr>
        <p:spPr>
          <a:xfrm>
            <a:off x="2381822" y="6027581"/>
            <a:ext cx="1005836" cy="413162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5F356162-A248-B763-AFB6-BC29F2BCEE2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1202037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0972C659-BE74-E37C-99C8-3E4926343B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3179" y="2410491"/>
            <a:ext cx="1993845" cy="43199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16F9C02-FAC2-141F-4C8C-3D657A0F49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3835" y="2410491"/>
            <a:ext cx="1993845" cy="431999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28890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右から左にスクロールして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キャラクターを選び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25254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選択したいキャラクターを押し「キャラクター決定」を押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2C8AD03-410F-077E-4E52-EB837E15C927}"/>
              </a:ext>
            </a:extLst>
          </p:cNvPr>
          <p:cNvSpPr/>
          <p:nvPr/>
        </p:nvSpPr>
        <p:spPr>
          <a:xfrm>
            <a:off x="6007100" y="5345002"/>
            <a:ext cx="1308100" cy="3398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D3036FA5-E4A6-A015-0B3D-9A69098EC98D}"/>
              </a:ext>
            </a:extLst>
          </p:cNvPr>
          <p:cNvSpPr/>
          <p:nvPr/>
        </p:nvSpPr>
        <p:spPr>
          <a:xfrm rot="10800000">
            <a:off x="1670736" y="4887000"/>
            <a:ext cx="1540042" cy="520897"/>
          </a:xfrm>
          <a:prstGeom prst="right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601DBBD2-B306-87A8-9DCB-EF92CD7B567E}"/>
              </a:ext>
            </a:extLst>
          </p:cNvPr>
          <p:cNvSpPr/>
          <p:nvPr/>
        </p:nvSpPr>
        <p:spPr>
          <a:xfrm>
            <a:off x="5803900" y="3074012"/>
            <a:ext cx="508000" cy="55520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サブタイトル 2">
            <a:extLst>
              <a:ext uri="{FF2B5EF4-FFF2-40B4-BE49-F238E27FC236}">
                <a16:creationId xmlns:a16="http://schemas.microsoft.com/office/drawing/2014/main" id="{9F581EDB-3FB2-A6DE-FA05-E96DA0DCC00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5081989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E0F27662-3F05-9D09-E23E-AA59D0A2A7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701" y="2408798"/>
            <a:ext cx="2017951" cy="4346825"/>
          </a:xfrm>
          <a:prstGeom prst="rect">
            <a:avLst/>
          </a:prstGeom>
        </p:spPr>
      </p:pic>
      <p:pic>
        <p:nvPicPr>
          <p:cNvPr id="24" name="図 23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54BB7CA6-C368-EA86-DA9A-73EA563401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6374" y="2410491"/>
            <a:ext cx="1993844" cy="431999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54073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このキャラクターで</a:t>
            </a:r>
            <a:b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</a:b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歩き始め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35368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説明が表示されるので、最後の画面まで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クロール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  <a:endParaRPr lang="en-US" altLang="ja-JP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601DBBD2-B306-87A8-9DCB-EF92CD7B567E}"/>
              </a:ext>
            </a:extLst>
          </p:cNvPr>
          <p:cNvSpPr/>
          <p:nvPr/>
        </p:nvSpPr>
        <p:spPr>
          <a:xfrm>
            <a:off x="1638300" y="6005182"/>
            <a:ext cx="1600200" cy="45618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17AE6FE5-1A62-6FE2-C242-880BFFC831B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  <p:sp>
        <p:nvSpPr>
          <p:cNvPr id="27" name="矢印: 右 26">
            <a:extLst>
              <a:ext uri="{FF2B5EF4-FFF2-40B4-BE49-F238E27FC236}">
                <a16:creationId xmlns:a16="http://schemas.microsoft.com/office/drawing/2014/main" id="{458C33C2-9840-1365-6045-892B5E055E7B}"/>
              </a:ext>
            </a:extLst>
          </p:cNvPr>
          <p:cNvSpPr/>
          <p:nvPr/>
        </p:nvSpPr>
        <p:spPr>
          <a:xfrm rot="10800000">
            <a:off x="5863275" y="5237523"/>
            <a:ext cx="1540042" cy="520897"/>
          </a:xfrm>
          <a:prstGeom prst="right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02730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, テキスト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91D31ED-3DF1-16C7-FD83-BFB5ADDCB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6927" y="2420009"/>
            <a:ext cx="1990146" cy="4311983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スタート！」を押しま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６</a:t>
            </a:r>
            <a:endParaRPr lang="en-US" altLang="ja-JP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E4B679C4-F9A7-93C0-91A3-E57C52A406C2}"/>
              </a:ext>
            </a:extLst>
          </p:cNvPr>
          <p:cNvSpPr/>
          <p:nvPr/>
        </p:nvSpPr>
        <p:spPr>
          <a:xfrm>
            <a:off x="3949445" y="5898927"/>
            <a:ext cx="1245110" cy="33523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サブタイトル 2">
            <a:extLst>
              <a:ext uri="{FF2B5EF4-FFF2-40B4-BE49-F238E27FC236}">
                <a16:creationId xmlns:a16="http://schemas.microsoft.com/office/drawing/2014/main" id="{BE8183AE-629B-51E2-11E3-5179A22563FF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初期設定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6635424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図 26" descr="グラフィカル ユーザー インターフェイス, テキスト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276DA553-13C9-DD95-3698-FFCED0391F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2221" y="2348310"/>
            <a:ext cx="1993846" cy="43199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841DD645-5BB3-8A09-09F1-4BB7918B78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7933" y="2348310"/>
            <a:ext cx="1993846" cy="4319999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0B55FB9-0ECD-7B8C-D399-7AE9236F981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14406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アプリの使用時のみ」または「今回のみ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772850" y="5307930"/>
            <a:ext cx="1338650" cy="703285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14760BF-CA4F-ED5C-FCFD-5D4B8EFD68F2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867D68BC-77EF-863A-2110-4F053ADC55AD}"/>
              </a:ext>
            </a:extLst>
          </p:cNvPr>
          <p:cNvSpPr/>
          <p:nvPr/>
        </p:nvSpPr>
        <p:spPr>
          <a:xfrm>
            <a:off x="6431181" y="5671998"/>
            <a:ext cx="575926" cy="31243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F6494174-E84E-0942-5C29-A34E12689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6E1B4660-A180-4351-4998-494C0F83BB21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2468207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E71F3FF3-9B53-647B-1EFD-9CC13128F77F}"/>
              </a:ext>
            </a:extLst>
          </p:cNvPr>
          <p:cNvSpPr/>
          <p:nvPr/>
        </p:nvSpPr>
        <p:spPr>
          <a:xfrm>
            <a:off x="2547255" y="1393750"/>
            <a:ext cx="6461989" cy="46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 PROJECT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は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P2</a:t>
            </a: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とは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P3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5E5584C-B88E-EBFE-A0F6-3F04AA991F52}"/>
              </a:ext>
            </a:extLst>
          </p:cNvPr>
          <p:cNvSpPr/>
          <p:nvPr/>
        </p:nvSpPr>
        <p:spPr>
          <a:xfrm>
            <a:off x="1871664" y="1393750"/>
            <a:ext cx="675592" cy="529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</a:t>
            </a: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1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</a:t>
            </a:r>
            <a:endParaRPr lang="en-US" altLang="ja-JP" dirty="0">
              <a:ln w="0"/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C56853D-9DC6-9A21-A6A3-E75D4DF87A48}"/>
              </a:ext>
            </a:extLst>
          </p:cNvPr>
          <p:cNvSpPr txBox="1"/>
          <p:nvPr/>
        </p:nvSpPr>
        <p:spPr>
          <a:xfrm>
            <a:off x="1818414" y="932095"/>
            <a:ext cx="6839282" cy="461655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. FUN+WALK PROJECT</a:t>
            </a:r>
            <a:r>
              <a:rPr lang="ja-JP" altLang="en-US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知りましょう 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E84AAFE-B98B-E1F7-1F0D-5A1A3FBA4969}"/>
              </a:ext>
            </a:extLst>
          </p:cNvPr>
          <p:cNvSpPr/>
          <p:nvPr/>
        </p:nvSpPr>
        <p:spPr>
          <a:xfrm>
            <a:off x="2547256" y="3146493"/>
            <a:ext cx="6461990" cy="46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インストール方法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P5</a:t>
            </a:r>
          </a:p>
          <a:p>
            <a:pPr algn="dist">
              <a:lnSpc>
                <a:spcPct val="150000"/>
              </a:lnSpc>
            </a:pP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利用設定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P11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A80D8DC4-D47C-996A-647C-B7753276A43D}"/>
              </a:ext>
            </a:extLst>
          </p:cNvPr>
          <p:cNvSpPr/>
          <p:nvPr/>
        </p:nvSpPr>
        <p:spPr>
          <a:xfrm>
            <a:off x="1871664" y="3146493"/>
            <a:ext cx="675592" cy="529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</a:t>
            </a: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2-</a:t>
            </a:r>
            <a:r>
              <a:rPr lang="ja-JP" altLang="en-US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</a:t>
            </a:r>
            <a:endParaRPr lang="en-US" altLang="ja-JP" dirty="0">
              <a:ln w="0"/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1B4D304-6A2B-8545-3E1C-AC6033AFB0BE}"/>
              </a:ext>
            </a:extLst>
          </p:cNvPr>
          <p:cNvSpPr txBox="1"/>
          <p:nvPr/>
        </p:nvSpPr>
        <p:spPr>
          <a:xfrm>
            <a:off x="1818414" y="2684838"/>
            <a:ext cx="6839282" cy="461655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. FUN+WALK</a:t>
            </a:r>
            <a:r>
              <a:rPr lang="ja-JP" altLang="en-US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準備をしましょう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858A9A1-0EE0-922A-1E80-DE78544AC0DA}"/>
              </a:ext>
            </a:extLst>
          </p:cNvPr>
          <p:cNvSpPr/>
          <p:nvPr/>
        </p:nvSpPr>
        <p:spPr>
          <a:xfrm>
            <a:off x="2547256" y="4827606"/>
            <a:ext cx="6461990" cy="461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dist">
              <a:lnSpc>
                <a:spcPct val="150000"/>
              </a:lnSpc>
            </a:pP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の変身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P23</a:t>
            </a:r>
          </a:p>
          <a:p>
            <a:pPr algn="dist">
              <a:lnSpc>
                <a:spcPct val="150000"/>
              </a:lnSpc>
            </a:pP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の変更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P26</a:t>
            </a:r>
          </a:p>
          <a:p>
            <a:pPr algn="dist">
              <a:lnSpc>
                <a:spcPct val="150000"/>
              </a:lnSpc>
            </a:pPr>
            <a:r>
              <a:rPr lang="ja-JP" altLang="en-US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分に合った目標設定</a:t>
            </a:r>
            <a:r>
              <a:rPr lang="en-US" altLang="ja-JP" dirty="0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P29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8EC94AF1-B55B-B3B3-ED2C-5581D32EC26A}"/>
              </a:ext>
            </a:extLst>
          </p:cNvPr>
          <p:cNvSpPr/>
          <p:nvPr/>
        </p:nvSpPr>
        <p:spPr>
          <a:xfrm>
            <a:off x="1871664" y="4827606"/>
            <a:ext cx="675592" cy="529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-A</a:t>
            </a:r>
          </a:p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-B</a:t>
            </a:r>
          </a:p>
          <a:p>
            <a:pPr>
              <a:lnSpc>
                <a:spcPct val="150000"/>
              </a:lnSpc>
            </a:pPr>
            <a:r>
              <a:rPr lang="en-US" altLang="ja-JP" dirty="0">
                <a:ln w="0"/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-C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ED606E7-08FF-C69B-66C9-922616787F3A}"/>
              </a:ext>
            </a:extLst>
          </p:cNvPr>
          <p:cNvSpPr txBox="1"/>
          <p:nvPr/>
        </p:nvSpPr>
        <p:spPr>
          <a:xfrm>
            <a:off x="1818414" y="4376709"/>
            <a:ext cx="6839282" cy="461655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. FUN+WALK</a:t>
            </a:r>
            <a:r>
              <a:rPr lang="ja-JP" altLang="en-US" sz="24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を活用してみましょう</a:t>
            </a:r>
          </a:p>
        </p:txBody>
      </p:sp>
    </p:spTree>
    <p:extLst>
      <p:ext uri="{BB962C8B-B14F-4D97-AF65-F5344CB8AC3E}">
        <p14:creationId xmlns:p14="http://schemas.microsoft.com/office/powerpoint/2010/main" val="6739909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2E25E8AD-D6A2-FA50-C0BA-D39CA7B6FF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0620" y="2347080"/>
            <a:ext cx="2017951" cy="4340728"/>
          </a:xfrm>
          <a:prstGeom prst="rect">
            <a:avLst/>
          </a:prstGeom>
        </p:spPr>
      </p:pic>
      <p:pic>
        <p:nvPicPr>
          <p:cNvPr id="16" name="図 15" descr="テキスト&#10;&#10;自動的に生成された説明">
            <a:extLst>
              <a:ext uri="{FF2B5EF4-FFF2-40B4-BE49-F238E27FC236}">
                <a16:creationId xmlns:a16="http://schemas.microsoft.com/office/drawing/2014/main" id="{2A2B87AE-9195-5ED6-C5F7-4472174C29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4762" y="2347080"/>
            <a:ext cx="1992941" cy="4318039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0B55FB9-0ECD-7B8C-D399-7AE9236F981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79CC1A92-04C6-AE97-D920-D309A92AE4A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280116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を選択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840873" y="4573025"/>
            <a:ext cx="397284" cy="35526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14760BF-CA4F-ED5C-FCFD-5D4B8EFD68F2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１</a:t>
            </a: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867D68BC-77EF-863A-2110-4F053ADC55AD}"/>
              </a:ext>
            </a:extLst>
          </p:cNvPr>
          <p:cNvSpPr/>
          <p:nvPr/>
        </p:nvSpPr>
        <p:spPr>
          <a:xfrm>
            <a:off x="5889852" y="4292757"/>
            <a:ext cx="1679348" cy="34563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D1905BEE-48BC-FE2D-DD55-7CC215D53349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19236758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 descr="ダイアグラム&#10;&#10;自動的に生成された説明">
            <a:extLst>
              <a:ext uri="{FF2B5EF4-FFF2-40B4-BE49-F238E27FC236}">
                <a16:creationId xmlns:a16="http://schemas.microsoft.com/office/drawing/2014/main" id="{B7C63037-B161-FF16-009E-2A0D97E244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5077" y="2411992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⓰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8" y="1512998"/>
            <a:ext cx="293259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が表示されれば完了で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A4E7FBE-426E-8C75-41F7-9F2142530DD8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29741539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E28B508-06A3-C5E1-CB1F-2A4D8E2B24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8878" y="2276526"/>
            <a:ext cx="2449026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テキスト&#10;&#10;自動的に生成された説明">
            <a:extLst>
              <a:ext uri="{FF2B5EF4-FFF2-40B4-BE49-F238E27FC236}">
                <a16:creationId xmlns:a16="http://schemas.microsoft.com/office/drawing/2014/main" id="{06E4A5C1-A662-73BB-B592-4F3BA6F7E6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7084" y="2276526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0B55FB9-0ECD-7B8C-D399-7AE9236F981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280116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許可しない」または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許可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33622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1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度だけ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また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App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使用中は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ます</a:t>
            </a:r>
            <a:endParaRPr lang="ja-JP" altLang="en-US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403868" y="4656729"/>
            <a:ext cx="1952941" cy="46872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14760BF-CA4F-ED5C-FCFD-5D4B8EFD68F2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867D68BC-77EF-863A-2110-4F053ADC55AD}"/>
              </a:ext>
            </a:extLst>
          </p:cNvPr>
          <p:cNvSpPr/>
          <p:nvPr/>
        </p:nvSpPr>
        <p:spPr>
          <a:xfrm>
            <a:off x="5691352" y="4394041"/>
            <a:ext cx="2012683" cy="70702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F6494174-E84E-0942-5C29-A34E12689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DBCAC63-C456-BEBF-CFFE-4EF1D7D416D2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25115810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ダイアグラム&#10;&#10;自動的に生成された説明">
            <a:extLst>
              <a:ext uri="{FF2B5EF4-FFF2-40B4-BE49-F238E27FC236}">
                <a16:creationId xmlns:a16="http://schemas.microsoft.com/office/drawing/2014/main" id="{9633AC8D-9469-822B-09E4-0295865BA0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431" y="2276526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テキスト, ホワイトボード&#10;&#10;自動的に生成された説明">
            <a:extLst>
              <a:ext uri="{FF2B5EF4-FFF2-40B4-BE49-F238E27FC236}">
                <a16:creationId xmlns:a16="http://schemas.microsoft.com/office/drawing/2014/main" id="{51370493-34B6-E82D-0B7F-B8BE72F7F4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8420" y="2276526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の利用設定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C0B55FB9-0ECD-7B8C-D399-7AE9236F981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B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280116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が表示されれば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完了で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309889" y="4791549"/>
            <a:ext cx="1034890" cy="442188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14760BF-CA4F-ED5C-FCFD-5D4B8EFD68F2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F6494174-E84E-0942-5C29-A34E126893E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他必要な初期設定をしましょう　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DBCAC63-C456-BEBF-CFFE-4EF1D7D416D2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5862909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</a:t>
            </a:r>
          </a:p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活用してみ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  <a:p>
            <a:pPr algn="ctr"/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17867147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A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30B04C-B7E6-77AA-9F2E-CFF0C1709B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3745AC5B-6707-B424-3B6D-EF2343646F7A}"/>
              </a:ext>
            </a:extLst>
          </p:cNvPr>
          <p:cNvSpPr txBox="1"/>
          <p:nvPr/>
        </p:nvSpPr>
        <p:spPr>
          <a:xfrm>
            <a:off x="3510136" y="1628800"/>
            <a:ext cx="5166317" cy="829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どんどん歩いて好きなご当地キャラを</a:t>
            </a:r>
            <a:endParaRPr lang="en-US" altLang="ja-JP" sz="2000" i="0" dirty="0">
              <a:solidFill>
                <a:schemeClr val="accent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変身させましょう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A9D4C07-DD14-DF21-10CF-6DECDE22B077}"/>
              </a:ext>
            </a:extLst>
          </p:cNvPr>
          <p:cNvSpPr txBox="1"/>
          <p:nvPr/>
        </p:nvSpPr>
        <p:spPr>
          <a:xfrm>
            <a:off x="3510137" y="2492896"/>
            <a:ext cx="5166316" cy="1872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好きなご当地キャラを選んで歩くと、歩数にあわせてキャラクター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</a:t>
            </a: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変身させることができます</a:t>
            </a:r>
            <a:b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毎日たくさん歩いて、まだ見たことのない、</a:t>
            </a:r>
            <a:endParaRPr lang="en-US" altLang="ja-JP" b="0" i="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こでしか見ることのできない</a:t>
            </a:r>
            <a:endParaRPr lang="en-US" altLang="ja-JP" b="0" i="0" dirty="0"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当地キャラの姿に出会ってみましょう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4E8F47D-F014-1945-6F54-EEC1B445CD4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9672" y="4473993"/>
            <a:ext cx="1163064" cy="1512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26EA3403-49BC-0086-5BDC-3700D7E8487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2543" y="4725144"/>
            <a:ext cx="1160250" cy="1512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E05BAB4-0BCE-031E-9AF7-0D6A8113C1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319" y="4725144"/>
            <a:ext cx="1176714" cy="1512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21DC4105-EC2E-6281-8B03-8431B7BE97C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9431" y="4473993"/>
            <a:ext cx="1160250" cy="1512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4E7C8230-A239-44B6-A5BA-DE1247A1FFA8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>
                <a:solidFill>
                  <a:srgbClr val="4472C4"/>
                </a:solidFill>
              </a:rPr>
              <a:t>キャラクターの変身</a:t>
            </a:r>
          </a:p>
        </p:txBody>
      </p:sp>
    </p:spTree>
    <p:extLst>
      <p:ext uri="{BB962C8B-B14F-4D97-AF65-F5344CB8AC3E}">
        <p14:creationId xmlns:p14="http://schemas.microsoft.com/office/powerpoint/2010/main" val="40255292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585E255F-135F-AA62-2F3A-3F20E7DDC1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5942" y="2413668"/>
            <a:ext cx="1997513" cy="43279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 descr="ダイアグラム&#10;&#10;自動的に生成された説明">
            <a:extLst>
              <a:ext uri="{FF2B5EF4-FFF2-40B4-BE49-F238E27FC236}">
                <a16:creationId xmlns:a16="http://schemas.microsoft.com/office/drawing/2014/main" id="{66442C59-3399-BF53-7B98-B1A0E75CAE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8161" y="2406591"/>
            <a:ext cx="1997514" cy="4327947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キャラクター図鑑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4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A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身させましょう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86206D7F-2DE8-A788-82F4-8A98B5B7E850}"/>
              </a:ext>
            </a:extLst>
          </p:cNvPr>
          <p:cNvSpPr/>
          <p:nvPr/>
        </p:nvSpPr>
        <p:spPr>
          <a:xfrm>
            <a:off x="5934899" y="3266016"/>
            <a:ext cx="1431109" cy="46778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4870D22-3BC7-EDB1-75DF-A7388FCFDD17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左上の　　　を</a:t>
            </a:r>
            <a:endParaRPr lang="en-US" altLang="ja-JP" sz="1800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押します</a:t>
            </a:r>
          </a:p>
        </p:txBody>
      </p:sp>
      <p:pic>
        <p:nvPicPr>
          <p:cNvPr id="3" name="図 2" descr="ダイアグラム&#10;&#10;自動的に生成された説明">
            <a:extLst>
              <a:ext uri="{FF2B5EF4-FFF2-40B4-BE49-F238E27FC236}">
                <a16:creationId xmlns:a16="http://schemas.microsoft.com/office/drawing/2014/main" id="{80190969-D113-E628-699E-E3E972BA2A4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16" t="3873" r="87021" b="91255"/>
          <a:stretch/>
        </p:blipFill>
        <p:spPr>
          <a:xfrm>
            <a:off x="3349742" y="1613721"/>
            <a:ext cx="346862" cy="276726"/>
          </a:xfrm>
          <a:prstGeom prst="rect">
            <a:avLst/>
          </a:prstGeom>
          <a:ln>
            <a:noFill/>
          </a:ln>
        </p:spPr>
      </p:pic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930F574D-02A0-DF1C-50BB-B54B7A5BB7F9}"/>
              </a:ext>
            </a:extLst>
          </p:cNvPr>
          <p:cNvSpPr/>
          <p:nvPr/>
        </p:nvSpPr>
        <p:spPr>
          <a:xfrm>
            <a:off x="1427049" y="2560148"/>
            <a:ext cx="367619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7F34B1B4-DD8E-6CB3-B86B-DBACACE82F87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>
                <a:solidFill>
                  <a:srgbClr val="4472C4"/>
                </a:solidFill>
              </a:rPr>
              <a:t>キャラクターの変身</a:t>
            </a:r>
          </a:p>
        </p:txBody>
      </p:sp>
    </p:spTree>
    <p:extLst>
      <p:ext uri="{BB962C8B-B14F-4D97-AF65-F5344CB8AC3E}">
        <p14:creationId xmlns:p14="http://schemas.microsoft.com/office/powerpoint/2010/main" val="41129320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5BD0EF7-7392-F8F3-8602-77DA6E9CAA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8161" y="2406591"/>
            <a:ext cx="1997514" cy="43279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図 29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3947F637-0BE5-BCC7-4A09-6E315CAC98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1906" y="2389604"/>
            <a:ext cx="1997514" cy="4327948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37216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現在のキャラクター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の好きな姿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  <a:endParaRPr lang="en-US" altLang="ja-JP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A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身させましょう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021A67F-97B5-8AF7-8EDF-0C3A4D577B65}"/>
              </a:ext>
            </a:extLst>
          </p:cNvPr>
          <p:cNvSpPr/>
          <p:nvPr/>
        </p:nvSpPr>
        <p:spPr>
          <a:xfrm>
            <a:off x="1458160" y="3266016"/>
            <a:ext cx="650039" cy="67516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3EFCBA1F-9188-A6CF-03F7-6B39C4D2CCCE}"/>
              </a:ext>
            </a:extLst>
          </p:cNvPr>
          <p:cNvSpPr/>
          <p:nvPr/>
        </p:nvSpPr>
        <p:spPr>
          <a:xfrm>
            <a:off x="5687011" y="5440301"/>
            <a:ext cx="1955332" cy="104481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FAC68D0D-2431-31D0-ED13-5F0E0EAEDB14}"/>
              </a:ext>
            </a:extLst>
          </p:cNvPr>
          <p:cNvSpPr txBox="1">
            <a:spLocks/>
          </p:cNvSpPr>
          <p:nvPr/>
        </p:nvSpPr>
        <p:spPr>
          <a:xfrm>
            <a:off x="1392691" y="220736"/>
            <a:ext cx="7576708" cy="486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>
                <a:solidFill>
                  <a:srgbClr val="4472C4"/>
                </a:solidFill>
              </a:rPr>
              <a:t>キャラクターの変身</a:t>
            </a:r>
          </a:p>
        </p:txBody>
      </p:sp>
    </p:spTree>
    <p:extLst>
      <p:ext uri="{BB962C8B-B14F-4D97-AF65-F5344CB8AC3E}">
        <p14:creationId xmlns:p14="http://schemas.microsoft.com/office/powerpoint/2010/main" val="31487736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3E2E9C79-5FA0-F464-157E-FA61F681E0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5942" y="2398695"/>
            <a:ext cx="1991445" cy="431479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図 22" descr="ダイアグラム&#10;&#10;自動的に生成された説明">
            <a:extLst>
              <a:ext uri="{FF2B5EF4-FFF2-40B4-BE49-F238E27FC236}">
                <a16:creationId xmlns:a16="http://schemas.microsoft.com/office/drawing/2014/main" id="{CC9776BC-4643-57DF-F592-28353660BF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1509" y="2398695"/>
            <a:ext cx="1997513" cy="4327943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37216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キャラクター図鑑」を</a:t>
            </a:r>
            <a:br>
              <a:rPr lang="en-US" altLang="ja-JP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6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キャラクターの変更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更してみましょう</a:t>
            </a:r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3EFCBA1F-9188-A6CF-03F7-6B39C4D2CCCE}"/>
              </a:ext>
            </a:extLst>
          </p:cNvPr>
          <p:cNvSpPr/>
          <p:nvPr/>
        </p:nvSpPr>
        <p:spPr>
          <a:xfrm>
            <a:off x="5994400" y="3259288"/>
            <a:ext cx="1308100" cy="48755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40C8412B-9067-EC20-25CF-97B1316970FE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左上の　　　を</a:t>
            </a:r>
            <a:endParaRPr lang="en-US" altLang="ja-JP" sz="1800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押します</a:t>
            </a:r>
          </a:p>
        </p:txBody>
      </p:sp>
      <p:pic>
        <p:nvPicPr>
          <p:cNvPr id="3" name="図 2" descr="ダイアグラム&#10;&#10;自動的に生成された説明">
            <a:extLst>
              <a:ext uri="{FF2B5EF4-FFF2-40B4-BE49-F238E27FC236}">
                <a16:creationId xmlns:a16="http://schemas.microsoft.com/office/drawing/2014/main" id="{6D0DE05F-FEEB-A298-2603-96A729025EB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16" t="3873" r="87021" b="91255"/>
          <a:stretch/>
        </p:blipFill>
        <p:spPr>
          <a:xfrm>
            <a:off x="3349742" y="1613721"/>
            <a:ext cx="346862" cy="276726"/>
          </a:xfrm>
          <a:prstGeom prst="rect">
            <a:avLst/>
          </a:prstGeom>
          <a:ln>
            <a:noFill/>
          </a:ln>
        </p:spPr>
      </p:pic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222716F6-E359-D298-71CC-F31886D1860A}"/>
              </a:ext>
            </a:extLst>
          </p:cNvPr>
          <p:cNvSpPr/>
          <p:nvPr/>
        </p:nvSpPr>
        <p:spPr>
          <a:xfrm>
            <a:off x="1427049" y="2560148"/>
            <a:ext cx="367619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31365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ダイアグラム&#10;&#10;自動的に生成された説明">
            <a:extLst>
              <a:ext uri="{FF2B5EF4-FFF2-40B4-BE49-F238E27FC236}">
                <a16:creationId xmlns:a16="http://schemas.microsoft.com/office/drawing/2014/main" id="{F5FE26AE-E67E-24F2-2755-2B3B7DA8F9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2868" y="2394833"/>
            <a:ext cx="2000138" cy="43336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図 1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D5EC29E-1A03-0734-CFE7-1E1B5934FE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9736" y="2394834"/>
            <a:ext cx="1997512" cy="4327942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372164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好きなキャラクター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247007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このキャラクターで歩き始め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7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更してみましょう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021A67F-97B5-8AF7-8EDF-0C3A4D577B65}"/>
              </a:ext>
            </a:extLst>
          </p:cNvPr>
          <p:cNvSpPr/>
          <p:nvPr/>
        </p:nvSpPr>
        <p:spPr>
          <a:xfrm>
            <a:off x="2138652" y="3248680"/>
            <a:ext cx="629947" cy="69249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3EFCBA1F-9188-A6CF-03F7-6B39C4D2CCCE}"/>
              </a:ext>
            </a:extLst>
          </p:cNvPr>
          <p:cNvSpPr/>
          <p:nvPr/>
        </p:nvSpPr>
        <p:spPr>
          <a:xfrm>
            <a:off x="5840642" y="5320428"/>
            <a:ext cx="1652358" cy="426118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DA4951D-46C2-634A-5B23-BDCC059C24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キャラクターの変更</a:t>
            </a:r>
          </a:p>
        </p:txBody>
      </p:sp>
    </p:spTree>
    <p:extLst>
      <p:ext uri="{BB962C8B-B14F-4D97-AF65-F5344CB8AC3E}">
        <p14:creationId xmlns:p14="http://schemas.microsoft.com/office/powerpoint/2010/main" val="11686231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  <a:spcBef>
                <a:spcPts val="0"/>
              </a:spcBef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 PROJECT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defTabSz="914305">
              <a:lnSpc>
                <a:spcPct val="120000"/>
              </a:lnSpc>
              <a:spcBef>
                <a:spcPts val="0"/>
              </a:spcBef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知り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744066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ダイアグラム&#10;&#10;中程度の精度で自動的に生成された説明">
            <a:extLst>
              <a:ext uri="{FF2B5EF4-FFF2-40B4-BE49-F238E27FC236}">
                <a16:creationId xmlns:a16="http://schemas.microsoft.com/office/drawing/2014/main" id="{B484651D-A05F-3DC6-976B-E41BC579A6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5664" y="2409447"/>
            <a:ext cx="1992672" cy="431745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294041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に切り変われば</a:t>
            </a:r>
            <a:br>
              <a:rPr lang="en-US" altLang="ja-JP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</a:br>
            <a:r>
              <a:rPr lang="ja-JP" altLang="en-US" sz="1800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完了で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8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BDA923AA-E21D-639D-8449-27D6874C916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B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キャラクターを変更してみましょう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DBA77AC4-6C06-5A85-C06A-5D185542E5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キャラクターの変更</a:t>
            </a:r>
          </a:p>
        </p:txBody>
      </p:sp>
    </p:spTree>
    <p:extLst>
      <p:ext uri="{BB962C8B-B14F-4D97-AF65-F5344CB8AC3E}">
        <p14:creationId xmlns:p14="http://schemas.microsoft.com/office/powerpoint/2010/main" val="37392646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9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902CA02-2765-48A8-38EE-3FD036EF4F8A}"/>
              </a:ext>
            </a:extLst>
          </p:cNvPr>
          <p:cNvSpPr txBox="1"/>
          <p:nvPr/>
        </p:nvSpPr>
        <p:spPr>
          <a:xfrm>
            <a:off x="410367" y="1936026"/>
            <a:ext cx="8323265" cy="38577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では、健康のために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,00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以上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目標歩数を推奨しています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また、目安として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分の歩行で約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,00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、家事などの生活活動は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約</a:t>
            </a:r>
            <a:r>
              <a:rPr lang="en-US" altLang="ja-JP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,000</a:t>
            </a:r>
            <a:r>
              <a:rPr lang="ja-JP" altLang="en-US" sz="24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に相当しますので、それを考慮し目標設定をすると良いでしょう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,000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が難しいという場合は、まずは</a:t>
            </a:r>
            <a:r>
              <a:rPr lang="en-US" altLang="ja-JP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,000</a:t>
            </a:r>
            <a:r>
              <a:rPr lang="ja-JP" altLang="en-US" sz="24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～設定してみましょう</a:t>
            </a:r>
            <a:endParaRPr lang="en-US" altLang="ja-JP" sz="24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BBE27BD4-62A5-77E0-D53F-9E8267B35664}"/>
              </a:ext>
            </a:extLst>
          </p:cNvPr>
          <p:cNvSpPr txBox="1">
            <a:spLocks/>
          </p:cNvSpPr>
          <p:nvPr/>
        </p:nvSpPr>
        <p:spPr>
          <a:xfrm>
            <a:off x="284326" y="1052688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分に合った目標設定をし、歩く習慣を身につけましょう</a:t>
            </a:r>
          </a:p>
        </p:txBody>
      </p:sp>
    </p:spTree>
    <p:extLst>
      <p:ext uri="{BB962C8B-B14F-4D97-AF65-F5344CB8AC3E}">
        <p14:creationId xmlns:p14="http://schemas.microsoft.com/office/powerpoint/2010/main" val="2583532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F363EFB1-247B-D99C-91CE-689A3C27FC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2142" y="2268718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図 3" descr="ダイアグラム&#10;&#10;自動的に生成された説明">
            <a:extLst>
              <a:ext uri="{FF2B5EF4-FFF2-40B4-BE49-F238E27FC236}">
                <a16:creationId xmlns:a16="http://schemas.microsoft.com/office/drawing/2014/main" id="{E7436D13-2ADE-95A7-D305-0D8CEC4A2B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0404" y="2268718"/>
            <a:ext cx="2449025" cy="4356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ホーム画面左上の　　　を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8681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基本情報登録」を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0</a:t>
            </a:r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B34AFA31-A920-300C-D979-310D1E3C507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を変更しましょう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pic>
        <p:nvPicPr>
          <p:cNvPr id="5" name="図 4" descr="ダイアグラム&#10;&#10;自動的に生成された説明">
            <a:extLst>
              <a:ext uri="{FF2B5EF4-FFF2-40B4-BE49-F238E27FC236}">
                <a16:creationId xmlns:a16="http://schemas.microsoft.com/office/drawing/2014/main" id="{EFFE31CF-0E9E-413E-981A-16349D2C0E5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16" t="3873" r="87021" b="91255"/>
          <a:stretch/>
        </p:blipFill>
        <p:spPr>
          <a:xfrm>
            <a:off x="3349742" y="1613721"/>
            <a:ext cx="346862" cy="276726"/>
          </a:xfrm>
          <a:prstGeom prst="rect">
            <a:avLst/>
          </a:prstGeom>
          <a:ln>
            <a:noFill/>
          </a:ln>
        </p:spPr>
      </p:pic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BEEC47B-2055-7360-A8C5-B839E9033857}"/>
              </a:ext>
            </a:extLst>
          </p:cNvPr>
          <p:cNvSpPr/>
          <p:nvPr/>
        </p:nvSpPr>
        <p:spPr>
          <a:xfrm>
            <a:off x="1168813" y="2384303"/>
            <a:ext cx="367619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9123627F-EF15-FBDC-C8B3-99D2A4B7AE86}"/>
              </a:ext>
            </a:extLst>
          </p:cNvPr>
          <p:cNvSpPr/>
          <p:nvPr/>
        </p:nvSpPr>
        <p:spPr>
          <a:xfrm>
            <a:off x="5954010" y="3043182"/>
            <a:ext cx="1529633" cy="470346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487714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図 31">
            <a:extLst>
              <a:ext uri="{FF2B5EF4-FFF2-40B4-BE49-F238E27FC236}">
                <a16:creationId xmlns:a16="http://schemas.microsoft.com/office/drawing/2014/main" id="{37FEB8E8-3E4A-8CF7-01F6-280F3475A1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0109" y="2257200"/>
            <a:ext cx="2475191" cy="4377307"/>
          </a:xfrm>
          <a:prstGeom prst="rect">
            <a:avLst/>
          </a:prstGeom>
        </p:spPr>
      </p:pic>
      <p:pic>
        <p:nvPicPr>
          <p:cNvPr id="28" name="図 27">
            <a:extLst>
              <a:ext uri="{FF2B5EF4-FFF2-40B4-BE49-F238E27FC236}">
                <a16:creationId xmlns:a16="http://schemas.microsoft.com/office/drawing/2014/main" id="{F001C424-0CC9-3869-7BED-D517F34228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8476" y="2257200"/>
            <a:ext cx="2475191" cy="4383404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下から上にスクロールします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36227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の数字部分（赤枠内）を押し、数値を入力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1</a:t>
            </a:r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B34AFA31-A920-300C-D979-310D1E3C507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を変更しましょう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9123627F-EF15-FBDC-C8B3-99D2A4B7AE86}"/>
              </a:ext>
            </a:extLst>
          </p:cNvPr>
          <p:cNvSpPr/>
          <p:nvPr/>
        </p:nvSpPr>
        <p:spPr>
          <a:xfrm>
            <a:off x="5633178" y="4956359"/>
            <a:ext cx="2163285" cy="33986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矢印: 下 11">
            <a:extLst>
              <a:ext uri="{FF2B5EF4-FFF2-40B4-BE49-F238E27FC236}">
                <a16:creationId xmlns:a16="http://schemas.microsoft.com/office/drawing/2014/main" id="{23B654A9-C3AC-36D8-A879-4228BFC61FDD}"/>
              </a:ext>
            </a:extLst>
          </p:cNvPr>
          <p:cNvSpPr/>
          <p:nvPr/>
        </p:nvSpPr>
        <p:spPr>
          <a:xfrm rot="10800000">
            <a:off x="2121242" y="3919668"/>
            <a:ext cx="549662" cy="2122809"/>
          </a:xfrm>
          <a:prstGeom prst="down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117063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7D99709A-8FB9-0663-6832-5898BC221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436" y="2269197"/>
            <a:ext cx="2475191" cy="437730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2</a:t>
            </a:r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B34AFA31-A920-300C-D979-310D1E3C507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目標歩数を変更しましょう</a:t>
            </a:r>
          </a:p>
        </p:txBody>
      </p:sp>
      <p:sp>
        <p:nvSpPr>
          <p:cNvPr id="36" name="タイトル 1">
            <a:extLst>
              <a:ext uri="{FF2B5EF4-FFF2-40B4-BE49-F238E27FC236}">
                <a16:creationId xmlns:a16="http://schemas.microsoft.com/office/drawing/2014/main" id="{D44D0BFC-F6D1-C7E0-0100-9123616C8B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自分に合った目標設定</a:t>
            </a:r>
          </a:p>
        </p:txBody>
      </p:sp>
      <p:sp>
        <p:nvSpPr>
          <p:cNvPr id="37" name="タイトル 1">
            <a:extLst>
              <a:ext uri="{FF2B5EF4-FFF2-40B4-BE49-F238E27FC236}">
                <a16:creationId xmlns:a16="http://schemas.microsoft.com/office/drawing/2014/main" id="{E71F6F3E-7B88-CFF5-389D-5129FDA722D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chemeClr val="tx1"/>
                </a:solidFill>
              </a:rPr>
              <a:t>3-C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271B53E-69B1-3E13-25AC-524DF26A70E4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AAD2436-2B88-9357-959E-230C1E253C6A}"/>
              </a:ext>
            </a:extLst>
          </p:cNvPr>
          <p:cNvSpPr txBox="1"/>
          <p:nvPr/>
        </p:nvSpPr>
        <p:spPr>
          <a:xfrm>
            <a:off x="3485787" y="1512998"/>
            <a:ext cx="294041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設定する」を押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CD2490B-A161-7222-CA8D-0FF4CABB1429}"/>
              </a:ext>
            </a:extLst>
          </p:cNvPr>
          <p:cNvSpPr/>
          <p:nvPr/>
        </p:nvSpPr>
        <p:spPr>
          <a:xfrm>
            <a:off x="3502389" y="6063918"/>
            <a:ext cx="2163285" cy="46933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489287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449840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1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FUN+WALK PROJECT</a:t>
            </a:r>
            <a:r>
              <a:rPr lang="ja-JP" altLang="en-US" sz="2799" dirty="0">
                <a:solidFill>
                  <a:srgbClr val="4472C4"/>
                </a:solidFill>
              </a:rPr>
              <a:t>と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96C393E-5AAF-AE4E-5616-5DCB8BE26C86}"/>
              </a:ext>
            </a:extLst>
          </p:cNvPr>
          <p:cNvSpPr txBox="1"/>
          <p:nvPr/>
        </p:nvSpPr>
        <p:spPr>
          <a:xfrm>
            <a:off x="667720" y="1280348"/>
            <a:ext cx="7808560" cy="132343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ja-JP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 PROJECT</a:t>
            </a:r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は、</a:t>
            </a:r>
            <a:br>
              <a:rPr lang="ja-JP" altLang="en-US" sz="20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くことをもっと楽しく、楽しいことをもっと健康的なものにする</a:t>
            </a:r>
            <a:endParaRPr lang="en-US" altLang="ja-JP" sz="2000" i="0" dirty="0">
              <a:solidFill>
                <a:schemeClr val="tx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/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国民の健康増進を目指すプロジェクトです。</a:t>
            </a:r>
            <a:endParaRPr lang="en-US" altLang="ja-JP" sz="2000" i="0" dirty="0">
              <a:solidFill>
                <a:schemeClr val="tx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/>
            <a:r>
              <a:rPr lang="ja-JP" altLang="en-US" sz="2000" i="0" dirty="0">
                <a:solidFill>
                  <a:schemeClr val="tx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歩く」を入口に、国民の健康増進を目指しています。</a:t>
            </a:r>
            <a:endParaRPr lang="ja-JP" altLang="en-US" sz="200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27ED2F58-F162-5A35-C566-A71E698FEBF5}"/>
              </a:ext>
            </a:extLst>
          </p:cNvPr>
          <p:cNvGrpSpPr/>
          <p:nvPr/>
        </p:nvGrpSpPr>
        <p:grpSpPr>
          <a:xfrm>
            <a:off x="630147" y="3725150"/>
            <a:ext cx="4061873" cy="2520129"/>
            <a:chOff x="510127" y="2819448"/>
            <a:chExt cx="4061873" cy="2520129"/>
          </a:xfrm>
        </p:grpSpPr>
        <p:sp>
          <p:nvSpPr>
            <p:cNvPr id="13" name="四角形: 角を丸くする 12">
              <a:extLst>
                <a:ext uri="{FF2B5EF4-FFF2-40B4-BE49-F238E27FC236}">
                  <a16:creationId xmlns:a16="http://schemas.microsoft.com/office/drawing/2014/main" id="{80BB4BF7-C386-6362-8D91-EFE343FED385}"/>
                </a:ext>
              </a:extLst>
            </p:cNvPr>
            <p:cNvSpPr/>
            <p:nvPr/>
          </p:nvSpPr>
          <p:spPr>
            <a:xfrm>
              <a:off x="510127" y="2819448"/>
              <a:ext cx="3627616" cy="2520129"/>
            </a:xfrm>
            <a:prstGeom prst="round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20718E8D-4C0E-2635-4D21-79DC8AE1639D}"/>
                </a:ext>
              </a:extLst>
            </p:cNvPr>
            <p:cNvSpPr txBox="1"/>
            <p:nvPr/>
          </p:nvSpPr>
          <p:spPr>
            <a:xfrm>
              <a:off x="919971" y="3265319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グルメ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仕事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音楽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デート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美容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写真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4967E69B-0895-EAF1-9E6B-C172B3815403}"/>
                </a:ext>
              </a:extLst>
            </p:cNvPr>
            <p:cNvSpPr txBox="1"/>
            <p:nvPr/>
          </p:nvSpPr>
          <p:spPr>
            <a:xfrm>
              <a:off x="2123728" y="3262086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ショッピング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ファッション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旅行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アート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イベント</a:t>
              </a:r>
              <a:endParaRPr lang="en-US" altLang="ja-JP" sz="20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lang="ja-JP" altLang="en-US" sz="20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自然</a:t>
              </a:r>
            </a:p>
          </p:txBody>
        </p:sp>
      </p:grp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9D22573-60D4-0434-4701-555A3665A13D}"/>
              </a:ext>
            </a:extLst>
          </p:cNvPr>
          <p:cNvSpPr txBox="1"/>
          <p:nvPr/>
        </p:nvSpPr>
        <p:spPr>
          <a:xfrm>
            <a:off x="4257763" y="4522117"/>
            <a:ext cx="4496130" cy="92333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ja-JP" altLang="en-US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 </a:t>
            </a:r>
            <a:r>
              <a:rPr lang="en-US" altLang="ja-JP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C280932-C0CF-EBF9-C4F5-C2C03D26AB77}"/>
              </a:ext>
            </a:extLst>
          </p:cNvPr>
          <p:cNvSpPr txBox="1"/>
          <p:nvPr/>
        </p:nvSpPr>
        <p:spPr>
          <a:xfrm>
            <a:off x="1853899" y="3715085"/>
            <a:ext cx="10182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endParaRPr kumimoji="1" lang="ja-JP" altLang="en-US" sz="2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680A46B5-8519-AE7F-BE07-8DB8276E1176}"/>
              </a:ext>
            </a:extLst>
          </p:cNvPr>
          <p:cNvSpPr txBox="1"/>
          <p:nvPr/>
        </p:nvSpPr>
        <p:spPr>
          <a:xfrm>
            <a:off x="445563" y="2813030"/>
            <a:ext cx="825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歩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WALK)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に「楽しい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FUN)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組み合わせ、自然と歩く習慣を身につけます</a:t>
            </a:r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632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1-B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と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0EA863-3A55-F29D-3014-2B9E9186F2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58754F82-C840-AA01-254B-C01E2588C65C}"/>
              </a:ext>
            </a:extLst>
          </p:cNvPr>
          <p:cNvSpPr txBox="1"/>
          <p:nvPr/>
        </p:nvSpPr>
        <p:spPr>
          <a:xfrm>
            <a:off x="3510136" y="1384876"/>
            <a:ext cx="5166317" cy="1229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好きなご当地キャラを変身させたり、おトクなクーポンを</a:t>
            </a:r>
            <a:r>
              <a:rPr lang="en-US" altLang="ja-JP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ET</a:t>
            </a: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たり</a:t>
            </a:r>
            <a:endParaRPr lang="en-US" altLang="ja-JP" sz="2000" i="0" dirty="0">
              <a:solidFill>
                <a:schemeClr val="accent1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l" fontAlgn="base">
              <a:lnSpc>
                <a:spcPct val="130000"/>
              </a:lnSpc>
            </a:pPr>
            <a:r>
              <a:rPr lang="ja-JP" altLang="en-US" sz="2000" i="0" dirty="0">
                <a:solidFill>
                  <a:schemeClr val="accent1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歩く」がもっと楽しくなるアプリです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A85FAB1-F2AC-5EAD-1035-01E1053EA219}"/>
              </a:ext>
            </a:extLst>
          </p:cNvPr>
          <p:cNvSpPr txBox="1"/>
          <p:nvPr/>
        </p:nvSpPr>
        <p:spPr>
          <a:xfrm>
            <a:off x="3510136" y="2858490"/>
            <a:ext cx="5166316" cy="3636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は、歩くことをもっと楽しく、楽しいことをもっと健康的なものに変えていくスポーツ庁の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『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ALK PROJECT』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サポートするアプリ</a:t>
            </a:r>
            <a:r>
              <a:rPr lang="ja-JP" altLang="en-US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です</a:t>
            </a:r>
            <a:endParaRPr lang="en-US" altLang="ja-JP" dirty="0">
              <a:solidFill>
                <a:srgbClr val="33333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dirty="0">
              <a:solidFill>
                <a:srgbClr val="33333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一日の歩数にあわせて、ご当地キャラがどんどん変身したり、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歩ごとにたまるポイントを、</a:t>
            </a:r>
            <a:endParaRPr lang="en-US" altLang="ja-JP" b="0" i="0" dirty="0">
              <a:solidFill>
                <a:srgbClr val="333333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様々な割引クーポンと交換したりすることが可能な、もっと歩きたくなる仕掛けが、たくさん詰まったアプリで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56097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</a:t>
            </a:r>
          </a:p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準備をしましょう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58030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Play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ストア　　　 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アプリやゲームを検索」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1E44AD2-7A4A-9B73-DA42-452A4D657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92AEA280-EB17-7090-5AB6-32CE2A90F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30028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471350" y="5272862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715676" y="2502136"/>
            <a:ext cx="1584026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" name="図 19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DADA6025-865B-82B8-4B65-B33756B02E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6612" y="1471099"/>
            <a:ext cx="535937" cy="535937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15437EF0-FEE6-7240-5A90-8CEC25EBDE9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A5A8C5B9-6C3D-CE4C-6E98-FB1BF90E05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4A87CEA-7B45-620F-E3B9-0C5352124628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610CAB1-8968-7265-F8DF-AFC395A5C3E6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742BFC4-932E-B25E-EB70-1266AAABEA95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A45ECF9-95F1-AA42-51FA-F46E394C93F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CE6E19F-1A7C-EFA0-1AE0-6AAF85F51CD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913009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図 27" descr="電卓の写真のスクリーンショット&#10;&#10;自動的に生成された説明">
            <a:extLst>
              <a:ext uri="{FF2B5EF4-FFF2-40B4-BE49-F238E27FC236}">
                <a16:creationId xmlns:a16="http://schemas.microsoft.com/office/drawing/2014/main" id="{7C16E096-A3B0-E9AA-6BD7-DD4E6F9298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4377" y="2334199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" name="図 26" descr="電卓の写真のスクリーンショット&#10;&#10;自動的に生成された説明">
            <a:extLst>
              <a:ext uri="{FF2B5EF4-FFF2-40B4-BE49-F238E27FC236}">
                <a16:creationId xmlns:a16="http://schemas.microsoft.com/office/drawing/2014/main" id="{52A702BA-FFAF-FE99-DE38-FC8E00BAF3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2462" y="2334199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fun+wal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と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　　　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657159" y="2454996"/>
            <a:ext cx="1524452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6FA63D-78D3-4D3B-259E-4FAE2C8FFDCE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77D610D4-C3A3-B3E8-803B-B2B6739B4A7B}"/>
              </a:ext>
            </a:extLst>
          </p:cNvPr>
          <p:cNvSpPr/>
          <p:nvPr/>
        </p:nvSpPr>
        <p:spPr>
          <a:xfrm>
            <a:off x="7227453" y="5931671"/>
            <a:ext cx="516144" cy="52987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8966F93C-005A-0E78-68E3-C14C97CAF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9740" y="1544172"/>
            <a:ext cx="395730" cy="395622"/>
          </a:xfrm>
          <a:custGeom>
            <a:avLst/>
            <a:gdLst>
              <a:gd name="connsiteX0" fmla="*/ 64959 w 554784"/>
              <a:gd name="connsiteY0" fmla="*/ 0 h 554633"/>
              <a:gd name="connsiteX1" fmla="*/ 489825 w 554784"/>
              <a:gd name="connsiteY1" fmla="*/ 0 h 554633"/>
              <a:gd name="connsiteX2" fmla="*/ 554784 w 554784"/>
              <a:gd name="connsiteY2" fmla="*/ 64959 h 554633"/>
              <a:gd name="connsiteX3" fmla="*/ 554784 w 554784"/>
              <a:gd name="connsiteY3" fmla="*/ 489674 h 554633"/>
              <a:gd name="connsiteX4" fmla="*/ 489825 w 554784"/>
              <a:gd name="connsiteY4" fmla="*/ 554633 h 554633"/>
              <a:gd name="connsiteX5" fmla="*/ 64959 w 554784"/>
              <a:gd name="connsiteY5" fmla="*/ 554633 h 554633"/>
              <a:gd name="connsiteX6" fmla="*/ 0 w 554784"/>
              <a:gd name="connsiteY6" fmla="*/ 489674 h 554633"/>
              <a:gd name="connsiteX7" fmla="*/ 0 w 554784"/>
              <a:gd name="connsiteY7" fmla="*/ 64959 h 554633"/>
              <a:gd name="connsiteX8" fmla="*/ 64959 w 554784"/>
              <a:gd name="connsiteY8" fmla="*/ 0 h 55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784" h="554633">
                <a:moveTo>
                  <a:pt x="64959" y="0"/>
                </a:moveTo>
                <a:lnTo>
                  <a:pt x="489825" y="0"/>
                </a:lnTo>
                <a:cubicBezTo>
                  <a:pt x="525701" y="0"/>
                  <a:pt x="554784" y="29083"/>
                  <a:pt x="554784" y="64959"/>
                </a:cubicBezTo>
                <a:lnTo>
                  <a:pt x="554784" y="489674"/>
                </a:lnTo>
                <a:cubicBezTo>
                  <a:pt x="554784" y="525550"/>
                  <a:pt x="525701" y="554633"/>
                  <a:pt x="489825" y="554633"/>
                </a:cubicBezTo>
                <a:lnTo>
                  <a:pt x="64959" y="554633"/>
                </a:lnTo>
                <a:cubicBezTo>
                  <a:pt x="29083" y="554633"/>
                  <a:pt x="0" y="525550"/>
                  <a:pt x="0" y="489674"/>
                </a:cubicBezTo>
                <a:lnTo>
                  <a:pt x="0" y="64959"/>
                </a:lnTo>
                <a:cubicBezTo>
                  <a:pt x="0" y="29083"/>
                  <a:pt x="29083" y="0"/>
                  <a:pt x="64959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D5EE2356-932B-CA9C-4A1A-2C2E3E1323E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246A40AE-480B-2B80-9EC8-68C18CB6B0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7A8A0C89-D2E5-B0DD-A611-AC37AE7994F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3877668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2BD25357-3AD4-9C1C-A2D9-8ADF33612A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8269" y="2334227"/>
            <a:ext cx="2017951" cy="4346825"/>
          </a:xfrm>
          <a:prstGeom prst="rect">
            <a:avLst/>
          </a:prstGeom>
        </p:spPr>
      </p:pic>
      <p:pic>
        <p:nvPicPr>
          <p:cNvPr id="22" name="図 2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076FC5B-D090-F846-653B-BB15F48904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4367" y="2333464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FUN+WAL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「インストール」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436916" y="2741496"/>
            <a:ext cx="1987430" cy="83996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674367" y="3965416"/>
            <a:ext cx="1993846" cy="334832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6FA63D-78D3-4D3B-259E-4FAE2C8FFDCE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7" name="サブタイトル 2">
            <a:extLst>
              <a:ext uri="{FF2B5EF4-FFF2-40B4-BE49-F238E27FC236}">
                <a16:creationId xmlns:a16="http://schemas.microsoft.com/office/drawing/2014/main" id="{C8ABBACC-962A-4BD2-2AE3-F798AB79BD4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UN+WALK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インストールしましょう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9F2C9A63-E780-FCC5-00F6-98F29B618A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6603090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FUN+WALK</a:t>
            </a:r>
            <a:r>
              <a:rPr lang="ja-JP" altLang="en-US" sz="2799" dirty="0">
                <a:solidFill>
                  <a:srgbClr val="4472C4"/>
                </a:solidFill>
              </a:rPr>
              <a:t>アプリのインストール方法</a:t>
            </a:r>
            <a:endParaRPr lang="ja-JP" altLang="en-US" dirty="0">
              <a:solidFill>
                <a:srgbClr val="4472C4"/>
              </a:solidFill>
            </a:endParaRP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588193B4-C560-0689-7267-7C1F25698CB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2-A</a:t>
            </a:r>
          </a:p>
        </p:txBody>
      </p:sp>
    </p:spTree>
    <p:extLst>
      <p:ext uri="{BB962C8B-B14F-4D97-AF65-F5344CB8AC3E}">
        <p14:creationId xmlns:p14="http://schemas.microsoft.com/office/powerpoint/2010/main" val="799558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30C360F03D9154893E8CD1E92A1C47E" ma:contentTypeVersion="12" ma:contentTypeDescription="新しいドキュメントを作成します。" ma:contentTypeScope="" ma:versionID="a7bc55e77245ee526a4c6de1d040215d">
  <xsd:schema xmlns:xsd="http://www.w3.org/2001/XMLSchema" xmlns:xs="http://www.w3.org/2001/XMLSchema" xmlns:p="http://schemas.microsoft.com/office/2006/metadata/properties" xmlns:ns2="079a4871-f4a2-4665-9954-203da50962a5" xmlns:ns3="2c894bec-798d-4cf3-95d8-8ea6401a7b86" targetNamespace="http://schemas.microsoft.com/office/2006/metadata/properties" ma:root="true" ma:fieldsID="e3bd04e3e020b843bab1d42e7f964934" ns2:_="" ns3:_="">
    <xsd:import namespace="079a4871-f4a2-4665-9954-203da50962a5"/>
    <xsd:import namespace="2c894bec-798d-4cf3-95d8-8ea6401a7b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a4871-f4a2-4665-9954-203da5096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894bec-798d-4cf3-95d8-8ea6401a7b8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2f2ba5-c93a-4102-ad8d-e1a5341c9bde}" ma:internalName="TaxCatchAll" ma:showField="CatchAllData" ma:web="2c894bec-798d-4cf3-95d8-8ea6401a7b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c894bec-798d-4cf3-95d8-8ea6401a7b86" xsi:nil="true"/>
    <lcf76f155ced4ddcb4097134ff3c332f xmlns="079a4871-f4a2-4665-9954-203da50962a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B5CBC92-75A9-461C-B234-C3585E875A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9a4871-f4a2-4665-9954-203da50962a5"/>
    <ds:schemaRef ds:uri="2c894bec-798d-4cf3-95d8-8ea6401a7b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0E30DB-0415-4458-A9FB-7FC2791A2620}">
  <ds:schemaRefs>
    <ds:schemaRef ds:uri="http://purl.org/dc/elements/1.1/"/>
    <ds:schemaRef ds:uri="2c894bec-798d-4cf3-95d8-8ea6401a7b86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079a4871-f4a2-4665-9954-203da50962a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538</Words>
  <Application>Microsoft Office PowerPoint</Application>
  <PresentationFormat>画面に合わせる (4:3)</PresentationFormat>
  <Paragraphs>385</Paragraphs>
  <Slides>35</Slides>
  <Notes>3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5</vt:i4>
      </vt:variant>
    </vt:vector>
  </HeadingPairs>
  <TitlesOfParts>
    <vt:vector size="43" baseType="lpstr">
      <vt:lpstr>BIZ UDPゴシック</vt:lpstr>
      <vt:lpstr>BIZ UDゴシック</vt:lpstr>
      <vt:lpstr>メイリオ</vt:lpstr>
      <vt:lpstr>Abadi</vt:lpstr>
      <vt:lpstr>Arial</vt:lpstr>
      <vt:lpstr>Calibri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B</vt:lpstr>
      <vt:lpstr>PowerPoint プレゼンテーション</vt:lpstr>
      <vt:lpstr>FUN+WALKアプリのインストール方法</vt:lpstr>
      <vt:lpstr>FUN+WALKアプリのインストール方法</vt:lpstr>
      <vt:lpstr>FUN+WALKアプリのインストール方法</vt:lpstr>
      <vt:lpstr>FUN+WALKアプリのインストール方法</vt:lpstr>
      <vt:lpstr>FUN+WALKアプリのインストール方法</vt:lpstr>
      <vt:lpstr>FUN+WALKアプリのインストール方法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PowerPoint プレゼンテーション</vt:lpstr>
      <vt:lpstr>3-A</vt:lpstr>
      <vt:lpstr>PowerPoint プレゼンテーション</vt:lpstr>
      <vt:lpstr>PowerPoint プレゼンテーション</vt:lpstr>
      <vt:lpstr>キャラクターの変更</vt:lpstr>
      <vt:lpstr>キャラクターの変更</vt:lpstr>
      <vt:lpstr>キャラクターの変更</vt:lpstr>
      <vt:lpstr>自分に合った目標設定</vt:lpstr>
      <vt:lpstr>自分に合った目標設定</vt:lpstr>
      <vt:lpstr>自分に合った目標設定</vt:lpstr>
      <vt:lpstr>自分に合った目標設定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237</cp:revision>
  <dcterms:created xsi:type="dcterms:W3CDTF">2021-12-21T00:45:50Z</dcterms:created>
  <dcterms:modified xsi:type="dcterms:W3CDTF">2025-04-04T01:5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0C360F03D9154893E8CD1E92A1C47E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